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  <p:sldMasterId id="2147483708" r:id="rId2"/>
    <p:sldMasterId id="2147483744" r:id="rId3"/>
  </p:sldMasterIdLst>
  <p:notesMasterIdLst>
    <p:notesMasterId r:id="rId14"/>
  </p:notesMasterIdLst>
  <p:sldIdLst>
    <p:sldId id="873" r:id="rId4"/>
    <p:sldId id="865" r:id="rId5"/>
    <p:sldId id="864" r:id="rId6"/>
    <p:sldId id="866" r:id="rId7"/>
    <p:sldId id="871" r:id="rId8"/>
    <p:sldId id="874" r:id="rId9"/>
    <p:sldId id="875" r:id="rId10"/>
    <p:sldId id="876" r:id="rId11"/>
    <p:sldId id="760" r:id="rId12"/>
    <p:sldId id="881" r:id="rId1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5FB"/>
    <a:srgbClr val="EAEAEA"/>
    <a:srgbClr val="EAE9E9"/>
    <a:srgbClr val="EBE9E9"/>
    <a:srgbClr val="E8E8E8"/>
    <a:srgbClr val="FAFAF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25-02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E8B6EE-DD27-5740-A07C-F0F676B01A6D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7158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7.png"/><Relationship Id="rId7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jp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jpeg"/><Relationship Id="rId4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5-02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4C95C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 dirty="0">
              <a:solidFill>
                <a:srgbClr val="66B2E4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886960"/>
            <a:ext cx="8534400" cy="1469390"/>
          </a:xfrm>
        </p:spPr>
        <p:txBody>
          <a:bodyPr/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Klik om de 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0AAC6-E184-E744-B0A7-DF22D43E6345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9" name="Afbeelding 8" descr="HyGroLogo_Wit_payoff_Transp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7540" y="713454"/>
            <a:ext cx="8256920" cy="19453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429001"/>
            <a:ext cx="103632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x-none"/>
              <a:t>Titelstijl van model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984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D147D-AD68-A54F-8409-04120D99AD1C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9460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Klik om de tekststijl van het model te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B17EC-6138-624A-83B3-62CBBAEB357A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6375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184468"/>
            <a:ext cx="5384800" cy="494169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184469"/>
            <a:ext cx="5384800" cy="494169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5EBBB-7ECF-6E48-95A4-A0F2B4600EF5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6443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5232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Klik om de tekststijl van het model te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854994"/>
            <a:ext cx="5386917" cy="427116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215232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Klik om de tekststijl van het model te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1854994"/>
            <a:ext cx="5389033" cy="427116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48B45-20C3-DC44-B349-48AFE341D87A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4837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4AFF6A-C429-B647-BB95-9B5AC8F4A9BB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1099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3A227-C65F-C746-AE0F-A790A86E3537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0450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1147834"/>
            <a:ext cx="4011084" cy="28726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147834"/>
            <a:ext cx="6815667" cy="497832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Klik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9FE32-9186-FC48-A7DD-5AD3E0B4DEC2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2111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172256"/>
            <a:ext cx="7315200" cy="355531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x-none"/>
              <a:t>Sleep de afbeelding naar de tijdelijke aanduiding of 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Klik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79673-23B1-C542-B483-19AC86159549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6388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25-02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D768E-F136-0A42-A9EE-33F13237ECE9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8070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1CAC31-8E73-AD48-B6EF-419A6FBF809E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243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4C95C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 dirty="0">
              <a:solidFill>
                <a:srgbClr val="66B2E4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886960"/>
            <a:ext cx="8534400" cy="1469390"/>
          </a:xfrm>
        </p:spPr>
        <p:txBody>
          <a:bodyPr/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Klik om de 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0AAC6-E184-E744-B0A7-DF22D43E6345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9" name="Afbeelding 8" descr="HyGroLogo_Wit_payoff_Transp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7540" y="713454"/>
            <a:ext cx="8256920" cy="19453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429001"/>
            <a:ext cx="103632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x-none"/>
              <a:t>Titelstijl van model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2394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D147D-AD68-A54F-8409-04120D99AD1C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2208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Klik om de tekststijl van het model te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B17EC-6138-624A-83B3-62CBBAEB357A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6186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184468"/>
            <a:ext cx="5384800" cy="494169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184469"/>
            <a:ext cx="5384800" cy="494169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5EBBB-7ECF-6E48-95A4-A0F2B4600EF5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750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5232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Klik om de tekststijl van het model te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854994"/>
            <a:ext cx="5386917" cy="427116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215232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Klik om de tekststijl van het model te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1854994"/>
            <a:ext cx="5389033" cy="427116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48B45-20C3-DC44-B349-48AFE341D87A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4234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4AFF6A-C429-B647-BB95-9B5AC8F4A9BB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2600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3A227-C65F-C746-AE0F-A790A86E3537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7614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1147834"/>
            <a:ext cx="4011084" cy="28726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147834"/>
            <a:ext cx="6815667" cy="497832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Klik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9FE32-9186-FC48-A7DD-5AD3E0B4DEC2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515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172256"/>
            <a:ext cx="7315200" cy="355531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x-none"/>
              <a:t>Sleep de afbeelding naar de tijdelijke aanduiding of 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Klik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79673-23B1-C542-B483-19AC86159549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1816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D768E-F136-0A42-A9EE-33F13237ECE9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652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x-none"/>
              <a:t>Titelstijl van model bewerk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1CAC31-8E73-AD48-B6EF-419A6FBF809E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425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2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/>
          <p:nvPr/>
        </p:nvSpPr>
        <p:spPr>
          <a:xfrm>
            <a:off x="1" y="6204144"/>
            <a:ext cx="12214577" cy="653856"/>
          </a:xfrm>
          <a:prstGeom prst="rect">
            <a:avLst/>
          </a:prstGeom>
          <a:solidFill>
            <a:srgbClr val="66B2E4"/>
          </a:solidFill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22110"/>
            <a:ext cx="10972800" cy="8547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noProof="0"/>
              <a:t>Titelstijl van model bewer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96678"/>
            <a:ext cx="10972800" cy="49294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67147" y="6356351"/>
            <a:ext cx="24248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79579D-5BB0-AF45-93AE-AD8616D68F3A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5" name="Afbeelding 4" descr="HyGro_Wit_payoff_Transp.png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3867" y="6497248"/>
            <a:ext cx="4368000" cy="158822"/>
          </a:xfrm>
          <a:prstGeom prst="rect">
            <a:avLst/>
          </a:prstGeom>
        </p:spPr>
      </p:pic>
      <p:pic>
        <p:nvPicPr>
          <p:cNvPr id="7" name="Afbeelding 6" descr="HyGroLogo_Wit_Transp.png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947" y="6409126"/>
            <a:ext cx="1693333" cy="246944"/>
          </a:xfrm>
          <a:prstGeom prst="rect">
            <a:avLst/>
          </a:prstGeom>
        </p:spPr>
      </p:pic>
      <p:sp>
        <p:nvSpPr>
          <p:cNvPr id="8" name="Tekstvak 7"/>
          <p:cNvSpPr txBox="1"/>
          <p:nvPr userDrawn="1"/>
        </p:nvSpPr>
        <p:spPr>
          <a:xfrm>
            <a:off x="8200703" y="6356351"/>
            <a:ext cx="10732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noProof="0" dirty="0">
                <a:solidFill>
                  <a:srgbClr val="FFFFFF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2045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ftr="0"/>
  <p:txStyles>
    <p:titleStyle>
      <a:lvl1pPr algn="ctr" defTabSz="457200" rtl="0" eaLnBrk="1" latinLnBrk="0" hangingPunct="1">
        <a:lnSpc>
          <a:spcPct val="80000"/>
        </a:lnSpc>
        <a:spcBef>
          <a:spcPct val="0"/>
        </a:spcBef>
        <a:buNone/>
        <a:defRPr sz="4400" b="1" kern="1200">
          <a:solidFill>
            <a:srgbClr val="4C95C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/>
          <p:nvPr/>
        </p:nvSpPr>
        <p:spPr>
          <a:xfrm>
            <a:off x="1" y="6204144"/>
            <a:ext cx="12214577" cy="653856"/>
          </a:xfrm>
          <a:prstGeom prst="rect">
            <a:avLst/>
          </a:prstGeom>
          <a:solidFill>
            <a:srgbClr val="66B2E4"/>
          </a:solidFill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22110"/>
            <a:ext cx="10972800" cy="8547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noProof="0"/>
              <a:t>Titelstijl van model bewer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96678"/>
            <a:ext cx="10972800" cy="49294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Klik om de tekststijl van het model te bewerken</a:t>
            </a:r>
          </a:p>
          <a:p>
            <a:pPr lvl="1"/>
            <a:r>
              <a:rPr lang="x-none"/>
              <a:t>Tweede niveau</a:t>
            </a:r>
          </a:p>
          <a:p>
            <a:pPr lvl="2"/>
            <a:r>
              <a:rPr lang="x-none"/>
              <a:t>Derde niveau</a:t>
            </a:r>
          </a:p>
          <a:p>
            <a:pPr lvl="3"/>
            <a:r>
              <a:rPr lang="x-none"/>
              <a:t>Vierde niveau</a:t>
            </a:r>
          </a:p>
          <a:p>
            <a:pPr lvl="4"/>
            <a:r>
              <a:rPr lang="x-none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67147" y="6356351"/>
            <a:ext cx="24248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79579D-5BB0-AF45-93AE-AD8616D68F3A}" type="datetime1">
              <a:rPr lang="nl-NL" smtClean="0"/>
              <a:t>25-02-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7CE044-141B-5549-9B7F-3F4AE3350B5E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5" name="Afbeelding 4" descr="HyGro_Wit_payoff_Transp.png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3867" y="6497248"/>
            <a:ext cx="4368000" cy="158822"/>
          </a:xfrm>
          <a:prstGeom prst="rect">
            <a:avLst/>
          </a:prstGeom>
        </p:spPr>
      </p:pic>
      <p:pic>
        <p:nvPicPr>
          <p:cNvPr id="7" name="Afbeelding 6" descr="HyGroLogo_Wit_Transp.png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947" y="6409126"/>
            <a:ext cx="1693333" cy="246944"/>
          </a:xfrm>
          <a:prstGeom prst="rect">
            <a:avLst/>
          </a:prstGeom>
        </p:spPr>
      </p:pic>
      <p:sp>
        <p:nvSpPr>
          <p:cNvPr id="8" name="Tekstvak 7"/>
          <p:cNvSpPr txBox="1"/>
          <p:nvPr userDrawn="1"/>
        </p:nvSpPr>
        <p:spPr>
          <a:xfrm>
            <a:off x="8200703" y="6356351"/>
            <a:ext cx="10732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noProof="0" dirty="0">
                <a:solidFill>
                  <a:srgbClr val="FFFFFF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12801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 ftr="0"/>
  <p:txStyles>
    <p:titleStyle>
      <a:lvl1pPr algn="ctr" defTabSz="457200" rtl="0" eaLnBrk="1" latinLnBrk="0" hangingPunct="1">
        <a:lnSpc>
          <a:spcPct val="80000"/>
        </a:lnSpc>
        <a:spcBef>
          <a:spcPct val="0"/>
        </a:spcBef>
        <a:buNone/>
        <a:defRPr sz="4400" b="1" kern="1200">
          <a:solidFill>
            <a:srgbClr val="4C95C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4.jpg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9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D0653-2DAC-734F-8EF5-ABE33C2363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e </a:t>
            </a:r>
            <a:r>
              <a:rPr lang="en-GB" dirty="0" err="1"/>
              <a:t>waterstofmol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AFF661-32A5-3340-B45E-4D3DB65660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4B17EC-6138-624A-83B3-62CBBAEB357A}" type="datetime1"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-02-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F43FE4-B466-F647-99D6-6BF8B64B7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CE044-141B-5549-9B7F-3F4AE3350B5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1B5075F-98D5-5247-8835-258DAAA866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heaper than renewable electricity</a:t>
            </a:r>
            <a:endParaRPr lang="en-GB" baseline="-25000" dirty="0"/>
          </a:p>
        </p:txBody>
      </p:sp>
    </p:spTree>
    <p:extLst>
      <p:ext uri="{BB962C8B-B14F-4D97-AF65-F5344CB8AC3E}">
        <p14:creationId xmlns:p14="http://schemas.microsoft.com/office/powerpoint/2010/main" val="37757074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4FF68-5E36-7F43-85FD-23558110F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osten</a:t>
            </a:r>
            <a:r>
              <a:rPr lang="en-GB" dirty="0"/>
              <a:t> </a:t>
            </a:r>
            <a:r>
              <a:rPr lang="en-GB" dirty="0" err="1"/>
              <a:t>vergelijking</a:t>
            </a:r>
            <a:r>
              <a:rPr lang="en-GB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EF1F5-D098-4F46-99DB-422EC2380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199" y="1196679"/>
            <a:ext cx="7942882" cy="1026061"/>
          </a:xfrm>
        </p:spPr>
        <p:txBody>
          <a:bodyPr>
            <a:normAutofit lnSpcReduction="10000"/>
          </a:bodyPr>
          <a:lstStyle/>
          <a:p>
            <a:r>
              <a:rPr lang="en-GB" sz="2800" dirty="0"/>
              <a:t>30% </a:t>
            </a:r>
            <a:r>
              <a:rPr lang="en-GB" sz="2800" dirty="0" err="1"/>
              <a:t>meer</a:t>
            </a:r>
            <a:r>
              <a:rPr lang="en-GB" sz="2800" dirty="0"/>
              <a:t> </a:t>
            </a:r>
            <a:r>
              <a:rPr lang="en-GB" sz="2800" dirty="0" err="1"/>
              <a:t>energie</a:t>
            </a:r>
            <a:endParaRPr lang="en-GB" sz="2800" dirty="0"/>
          </a:p>
          <a:p>
            <a:r>
              <a:rPr lang="en-GB" sz="2800" dirty="0"/>
              <a:t>45% </a:t>
            </a:r>
            <a:r>
              <a:rPr lang="en-GB" sz="2800" dirty="0" err="1"/>
              <a:t>lagere</a:t>
            </a:r>
            <a:r>
              <a:rPr lang="en-GB" sz="2800" dirty="0"/>
              <a:t> </a:t>
            </a:r>
            <a:r>
              <a:rPr lang="en-GB" sz="2800" dirty="0" err="1"/>
              <a:t>kosten</a:t>
            </a:r>
            <a:r>
              <a:rPr lang="en-GB" sz="2800" dirty="0"/>
              <a:t> /kWh (</a:t>
            </a:r>
            <a:r>
              <a:rPr lang="en-GB" sz="2800" dirty="0" err="1"/>
              <a:t>gerekend</a:t>
            </a:r>
            <a:r>
              <a:rPr lang="en-GB" sz="2800" dirty="0"/>
              <a:t> </a:t>
            </a:r>
            <a:r>
              <a:rPr lang="en-GB" sz="2800" dirty="0" err="1"/>
              <a:t>vanaf</a:t>
            </a:r>
            <a:r>
              <a:rPr lang="en-GB" sz="2800" dirty="0"/>
              <a:t> zee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7160AA-3C2D-B145-AD43-A80B975402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D147D-AD68-A54F-8409-04120D99AD1C}" type="datetime1">
              <a:rPr lang="nl-NL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5-02-1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B597E8-74E6-9D4D-A73C-D7A4CC1FB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0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D1F16A0-26F6-8848-90ED-0189F786080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484938" y="2442538"/>
            <a:ext cx="4935404" cy="3031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3686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5A8E1-FD41-DF49-A9C1-69C5FA40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Kabel vs </a:t>
            </a:r>
            <a:r>
              <a:rPr lang="en-GB" dirty="0" err="1"/>
              <a:t>pijpleiding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0574E6-6849-BE43-BC94-222E30D1D4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D147D-AD68-A54F-8409-04120D99AD1C}" type="datetime1">
              <a:rPr lang="nl-NL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5-02-1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BE562B-8DCF-AD44-ABEA-9B7BC7E63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F6FD02-4120-4942-ABBB-B2119B9515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1895" y="2321519"/>
            <a:ext cx="4704660" cy="1913006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1B30837-B71D-FB40-93C3-D5E5393E62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0" y="4557536"/>
            <a:ext cx="8229600" cy="1405943"/>
          </a:xfrm>
        </p:spPr>
        <p:txBody>
          <a:bodyPr>
            <a:normAutofit/>
          </a:bodyPr>
          <a:lstStyle/>
          <a:p>
            <a:r>
              <a:rPr lang="nl-NL" sz="2400" dirty="0"/>
              <a:t>Offshore kabelkosten ± 30% van kWh prijs</a:t>
            </a:r>
          </a:p>
          <a:p>
            <a:r>
              <a:rPr lang="nl-NL" sz="2400" dirty="0"/>
              <a:t>Pijpleiding 10 tot 20x keer goedkoper</a:t>
            </a:r>
          </a:p>
          <a:p>
            <a:r>
              <a:rPr lang="nl-NL" sz="2400" dirty="0"/>
              <a:t>Inherente buffer</a:t>
            </a:r>
          </a:p>
          <a:p>
            <a:endParaRPr lang="nl-NL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345641-C7E1-4A4B-BEEC-52948B6D4B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4465" y="1815548"/>
            <a:ext cx="4007178" cy="2557668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8124D61-86DC-4E4A-86E7-5A0D52E6C91B}"/>
              </a:ext>
            </a:extLst>
          </p:cNvPr>
          <p:cNvCxnSpPr>
            <a:cxnSpLocks/>
          </p:cNvCxnSpPr>
          <p:nvPr/>
        </p:nvCxnSpPr>
        <p:spPr>
          <a:xfrm flipV="1">
            <a:off x="5936975" y="3962401"/>
            <a:ext cx="3405809" cy="74212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3920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5C885EA-8399-6C42-84F3-062DA4B06A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3034" y="2256256"/>
            <a:ext cx="8130172" cy="392901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35A8E1-FD41-DF49-A9C1-69C5FA40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Beperkingen</a:t>
            </a:r>
            <a:r>
              <a:rPr lang="en-GB" dirty="0"/>
              <a:t> van </a:t>
            </a:r>
            <a:r>
              <a:rPr lang="en-GB" dirty="0" err="1"/>
              <a:t>elektriciteitskabe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2CF695-B462-1D41-A526-3BDBF2EB7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7928" y="1196678"/>
            <a:ext cx="7052872" cy="4929486"/>
          </a:xfrm>
        </p:spPr>
        <p:txBody>
          <a:bodyPr>
            <a:normAutofit/>
          </a:bodyPr>
          <a:lstStyle/>
          <a:p>
            <a:r>
              <a:rPr lang="nl-NL" sz="1800" dirty="0"/>
              <a:t>Netwerkaansluiting veelal kleiner dan parkvermogen</a:t>
            </a:r>
          </a:p>
          <a:p>
            <a:r>
              <a:rPr lang="nl-NL" sz="1800" dirty="0"/>
              <a:t>Verliezen over kabel op max vermogen &gt;&gt; 10%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0574E6-6849-BE43-BC94-222E30D1D4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D147D-AD68-A54F-8409-04120D99AD1C}" type="datetime1">
              <a:rPr lang="nl-NL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5-02-1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BE562B-8DCF-AD44-ABEA-9B7BC7E63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3209BE6-03FA-E242-9BAC-069A757E6EC2}"/>
              </a:ext>
            </a:extLst>
          </p:cNvPr>
          <p:cNvSpPr/>
          <p:nvPr/>
        </p:nvSpPr>
        <p:spPr>
          <a:xfrm flipV="1">
            <a:off x="5343585" y="3140232"/>
            <a:ext cx="617838" cy="37070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E07EAF9-F481-734B-88D0-03F2905C79EF}"/>
              </a:ext>
            </a:extLst>
          </p:cNvPr>
          <p:cNvCxnSpPr>
            <a:cxnSpLocks/>
          </p:cNvCxnSpPr>
          <p:nvPr/>
        </p:nvCxnSpPr>
        <p:spPr>
          <a:xfrm flipH="1">
            <a:off x="5961423" y="3387468"/>
            <a:ext cx="934894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E329EFC-C47A-D042-983A-EA750E5564DE}"/>
              </a:ext>
            </a:extLst>
          </p:cNvPr>
          <p:cNvSpPr txBox="1"/>
          <p:nvPr/>
        </p:nvSpPr>
        <p:spPr>
          <a:xfrm>
            <a:off x="6864142" y="3202802"/>
            <a:ext cx="814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  <a:latin typeface="Calibri"/>
              </a:rPr>
              <a:t>&gt;&gt;10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7775F36-6F57-0540-8E4D-57B2B890F977}"/>
              </a:ext>
            </a:extLst>
          </p:cNvPr>
          <p:cNvSpPr/>
          <p:nvPr/>
        </p:nvSpPr>
        <p:spPr>
          <a:xfrm flipV="1">
            <a:off x="6936821" y="2487662"/>
            <a:ext cx="1912539" cy="37070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21609DA-2AFC-BB46-BD28-08E445825C76}"/>
              </a:ext>
            </a:extLst>
          </p:cNvPr>
          <p:cNvCxnSpPr>
            <a:cxnSpLocks/>
          </p:cNvCxnSpPr>
          <p:nvPr/>
        </p:nvCxnSpPr>
        <p:spPr>
          <a:xfrm flipH="1">
            <a:off x="8375375" y="2108633"/>
            <a:ext cx="856859" cy="37902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03649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Afbeelding 17" descr="1811_HYGRO_Opbrengstschalen.ai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01" y="-43599"/>
            <a:ext cx="10193142" cy="69797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EF2B7EE-928B-114C-BB56-4A71894BF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err="1">
                <a:solidFill>
                  <a:schemeClr val="bg1"/>
                </a:solidFill>
              </a:rPr>
              <a:t>Elektriciteit</a:t>
            </a:r>
            <a:r>
              <a:rPr lang="en-GB" dirty="0">
                <a:solidFill>
                  <a:schemeClr val="bg1"/>
                </a:solidFill>
              </a:rPr>
              <a:t> /</a:t>
            </a:r>
            <a:r>
              <a:rPr lang="en-GB" dirty="0" err="1">
                <a:solidFill>
                  <a:schemeClr val="bg1"/>
                </a:solidFill>
              </a:rPr>
              <a:t>jaar</a:t>
            </a:r>
            <a:r>
              <a:rPr lang="en-GB" dirty="0">
                <a:solidFill>
                  <a:schemeClr val="bg1"/>
                </a:solidFill>
              </a:rPr>
              <a:t> = </a:t>
            </a:r>
            <a:r>
              <a:rPr lang="en-GB" dirty="0" err="1">
                <a:solidFill>
                  <a:schemeClr val="bg1"/>
                </a:solidFill>
              </a:rPr>
              <a:t>keuz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FF3E32-5328-264E-8215-E7CD8BA4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D147D-AD68-A54F-8409-04120D99AD1C}" type="datetime1">
              <a:rPr lang="nl-NL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5-02-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46924E-5580-324D-83FA-5F29CAA79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20ABC36-0A34-7348-981C-4A3DEC70D597}"/>
              </a:ext>
            </a:extLst>
          </p:cNvPr>
          <p:cNvSpPr txBox="1">
            <a:spLocks/>
          </p:cNvSpPr>
          <p:nvPr/>
        </p:nvSpPr>
        <p:spPr>
          <a:xfrm>
            <a:off x="7609244" y="3986834"/>
            <a:ext cx="3069512" cy="2369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dirty="0">
              <a:solidFill>
                <a:srgbClr val="FFFFFF"/>
              </a:solidFill>
              <a:latin typeface="Calibri"/>
            </a:endParaRPr>
          </a:p>
          <a:p>
            <a:r>
              <a:rPr lang="nl-NL" sz="2000" b="1" u="sng" dirty="0">
                <a:solidFill>
                  <a:srgbClr val="FFFFFF"/>
                </a:solidFill>
                <a:latin typeface="Calibri"/>
              </a:rPr>
              <a:t>Economische</a:t>
            </a:r>
            <a:r>
              <a:rPr lang="nl-NL" sz="2000" b="1" dirty="0">
                <a:solidFill>
                  <a:srgbClr val="FFFFFF"/>
                </a:solidFill>
                <a:latin typeface="Calibri"/>
              </a:rPr>
              <a:t> afweging</a:t>
            </a:r>
          </a:p>
          <a:p>
            <a:r>
              <a:rPr lang="nl-NL" sz="2000" b="1" dirty="0">
                <a:solidFill>
                  <a:srgbClr val="FFFFFF"/>
                </a:solidFill>
                <a:latin typeface="Calibri"/>
              </a:rPr>
              <a:t>5  en 10 beaufort evenveel energieproductie</a:t>
            </a:r>
          </a:p>
        </p:txBody>
      </p:sp>
    </p:spTree>
    <p:extLst>
      <p:ext uri="{BB962C8B-B14F-4D97-AF65-F5344CB8AC3E}">
        <p14:creationId xmlns:p14="http://schemas.microsoft.com/office/powerpoint/2010/main" val="3705199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9F8A5-CE44-454B-9FCA-F89630EFF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842"/>
            <a:ext cx="8229600" cy="854770"/>
          </a:xfrm>
        </p:spPr>
        <p:txBody>
          <a:bodyPr/>
          <a:lstStyle/>
          <a:p>
            <a:r>
              <a:rPr lang="en-GB" dirty="0" err="1"/>
              <a:t>Elektrolyse</a:t>
            </a:r>
            <a:r>
              <a:rPr lang="en-GB" dirty="0"/>
              <a:t> </a:t>
            </a:r>
            <a:r>
              <a:rPr lang="en-GB" dirty="0" err="1"/>
              <a:t>systeem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7ADA9B-6CD9-0546-92EC-CE20EEB26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D147D-AD68-A54F-8409-04120D99AD1C}" type="datetime1">
              <a:rPr lang="nl-NL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5-02-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3B5EF-7210-7B4E-9423-5D0DCEC2C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DB6A12-8E61-1F40-BA9D-56789D52B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038387"/>
            <a:ext cx="9474972" cy="461985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B75E9A0-E2CE-944C-876F-ADE8F4226A85}"/>
              </a:ext>
            </a:extLst>
          </p:cNvPr>
          <p:cNvSpPr/>
          <p:nvPr/>
        </p:nvSpPr>
        <p:spPr>
          <a:xfrm>
            <a:off x="6997148" y="3366052"/>
            <a:ext cx="3843130" cy="25841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prstClr val="black"/>
                </a:solidFill>
                <a:latin typeface="Calibri"/>
              </a:rPr>
              <a:t>Balance of pla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7F7948-41FD-B842-8E99-600E450D3E2F}"/>
              </a:ext>
            </a:extLst>
          </p:cNvPr>
          <p:cNvSpPr/>
          <p:nvPr/>
        </p:nvSpPr>
        <p:spPr>
          <a:xfrm>
            <a:off x="1585994" y="1199763"/>
            <a:ext cx="8951495" cy="4458474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D23A8D-B6D5-BE4B-A1F0-0E1B5625682B}"/>
              </a:ext>
            </a:extLst>
          </p:cNvPr>
          <p:cNvSpPr/>
          <p:nvPr/>
        </p:nvSpPr>
        <p:spPr>
          <a:xfrm>
            <a:off x="4652211" y="3160295"/>
            <a:ext cx="1652336" cy="1684421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A1651F5-5BC3-4C44-B298-66A58F39A867}"/>
              </a:ext>
            </a:extLst>
          </p:cNvPr>
          <p:cNvSpPr/>
          <p:nvPr/>
        </p:nvSpPr>
        <p:spPr>
          <a:xfrm>
            <a:off x="4032280" y="4658140"/>
            <a:ext cx="3424989" cy="1105511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15726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6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50408-67F5-CA49-ACDD-26F247263E09}" type="datetime1">
              <a:rPr lang="nl-NL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5-02-1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19" name="Afbeelding 18" descr="1808_HYGRO_Waterstofmolen_01.aiCROS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9243" y="3050102"/>
            <a:ext cx="1007757" cy="940573"/>
          </a:xfrm>
          <a:prstGeom prst="rect">
            <a:avLst/>
          </a:prstGeom>
        </p:spPr>
      </p:pic>
      <p:pic>
        <p:nvPicPr>
          <p:cNvPr id="2" name="Afbeelding 1" descr="1808_HYGRO_Waterstofmolen_02.aiA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pic>
        <p:nvPicPr>
          <p:cNvPr id="3" name="Afbeelding 2" descr="1808_HYGRO_Waterstofmolen_02.aiB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pic>
        <p:nvPicPr>
          <p:cNvPr id="7" name="Afbeelding 6" descr="1808_HYGRO_Waterstofmolen_02.aiC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pic>
        <p:nvPicPr>
          <p:cNvPr id="10" name="Afbeelding 9" descr="1808_HYGRO_Waterstofmolen_02.aiE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pic>
        <p:nvPicPr>
          <p:cNvPr id="11" name="Afbeelding 10" descr="1808_HYGRO_Waterstofmolen_01.aiCROS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5588" y="3905250"/>
            <a:ext cx="820412" cy="765718"/>
          </a:xfrm>
          <a:prstGeom prst="rect">
            <a:avLst/>
          </a:prstGeom>
        </p:spPr>
      </p:pic>
      <p:pic>
        <p:nvPicPr>
          <p:cNvPr id="20" name="Afbeelding 19" descr="1808_HYGRO_Waterstofmolen_01.aiCROS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6003" y="4670968"/>
            <a:ext cx="820412" cy="765718"/>
          </a:xfrm>
          <a:prstGeom prst="rect">
            <a:avLst/>
          </a:prstGeom>
        </p:spPr>
      </p:pic>
      <p:pic>
        <p:nvPicPr>
          <p:cNvPr id="21" name="Afbeelding 20" descr="1808_HYGRO_Waterstofmolen_01.aiCROS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723" y="5436686"/>
            <a:ext cx="820412" cy="765718"/>
          </a:xfrm>
          <a:prstGeom prst="rect">
            <a:avLst/>
          </a:prstGeom>
        </p:spPr>
      </p:pic>
      <p:pic>
        <p:nvPicPr>
          <p:cNvPr id="23" name="Afbeelding 22" descr="1808_HYGRO_Waterstofmolen_01.aiCROS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8384" y="4670968"/>
            <a:ext cx="820412" cy="765718"/>
          </a:xfrm>
          <a:prstGeom prst="rect">
            <a:avLst/>
          </a:prstGeom>
        </p:spPr>
      </p:pic>
      <p:pic>
        <p:nvPicPr>
          <p:cNvPr id="24" name="Afbeelding 23" descr="1808_HYGRO_Waterstofmolen_01.aiCROS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104" y="5436686"/>
            <a:ext cx="820412" cy="7657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E79357-5977-4F42-84D4-987B9A542A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4408" y="3373245"/>
            <a:ext cx="638561" cy="266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25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xmlns:p14="http://schemas.microsoft.com/office/powerpoint/2010/main"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6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9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De </a:t>
            </a:r>
            <a:r>
              <a:rPr lang="en-GB" dirty="0" err="1">
                <a:solidFill>
                  <a:schemeClr val="bg1"/>
                </a:solidFill>
              </a:rPr>
              <a:t>Waterstofmolen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2" name="Afbeelding 1" descr="1808_HYGRO_Waterstofmolen_02.aiF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pic>
        <p:nvPicPr>
          <p:cNvPr id="3" name="Afbeelding 2" descr="1808_HYGRO_Waterstofmolen_02.aiG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pic>
        <p:nvPicPr>
          <p:cNvPr id="6" name="Afbeelding 5" descr="1808_HYGRO_Waterstofmolen_02.aiH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sp>
        <p:nvSpPr>
          <p:cNvPr id="10" name="Tekstvak 9"/>
          <p:cNvSpPr txBox="1"/>
          <p:nvPr/>
        </p:nvSpPr>
        <p:spPr>
          <a:xfrm>
            <a:off x="3516467" y="5367726"/>
            <a:ext cx="490453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GB" sz="2800" dirty="0" err="1">
                <a:solidFill>
                  <a:srgbClr val="FFFFFF"/>
                </a:solidFill>
                <a:latin typeface="Calibri"/>
              </a:rPr>
              <a:t>Lagere</a:t>
            </a:r>
            <a:r>
              <a:rPr lang="en-GB" sz="2800" dirty="0">
                <a:solidFill>
                  <a:srgbClr val="FFFFFF"/>
                </a:solidFill>
                <a:latin typeface="Calibri"/>
              </a:rPr>
              <a:t> </a:t>
            </a:r>
            <a:r>
              <a:rPr lang="en-GB" sz="2800" dirty="0" err="1">
                <a:solidFill>
                  <a:srgbClr val="FFFFFF"/>
                </a:solidFill>
                <a:latin typeface="Calibri"/>
              </a:rPr>
              <a:t>investering</a:t>
            </a:r>
            <a:endParaRPr lang="en-GB" sz="2800" dirty="0">
              <a:solidFill>
                <a:srgbClr val="FFFFFF"/>
              </a:solidFill>
              <a:latin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GB" sz="2800" dirty="0">
                <a:solidFill>
                  <a:srgbClr val="FFFFFF"/>
                </a:solidFill>
                <a:latin typeface="Calibri"/>
              </a:rPr>
              <a:t>Minder </a:t>
            </a:r>
            <a:r>
              <a:rPr lang="en-GB" sz="2800" dirty="0" err="1">
                <a:solidFill>
                  <a:srgbClr val="FFFFFF"/>
                </a:solidFill>
                <a:latin typeface="Calibri"/>
              </a:rPr>
              <a:t>energieverliezen</a:t>
            </a:r>
            <a:endParaRPr lang="en-GB" sz="2800" dirty="0">
              <a:solidFill>
                <a:srgbClr val="FFFFFF"/>
              </a:solidFill>
              <a:latin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GB" sz="2800" dirty="0" err="1">
                <a:solidFill>
                  <a:srgbClr val="FFFFFF"/>
                </a:solidFill>
                <a:latin typeface="Calibri"/>
              </a:rPr>
              <a:t>Hogere</a:t>
            </a:r>
            <a:r>
              <a:rPr lang="en-GB" sz="2800" dirty="0">
                <a:solidFill>
                  <a:srgbClr val="FFFFFF"/>
                </a:solidFill>
                <a:latin typeface="Calibri"/>
              </a:rPr>
              <a:t> </a:t>
            </a:r>
            <a:r>
              <a:rPr lang="en-GB" sz="2800" dirty="0" err="1">
                <a:solidFill>
                  <a:srgbClr val="FFFFFF"/>
                </a:solidFill>
                <a:latin typeface="Calibri"/>
              </a:rPr>
              <a:t>opbrengst</a:t>
            </a:r>
            <a:endParaRPr lang="en-GB" sz="28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Titel 13">
            <a:extLst>
              <a:ext uri="{FF2B5EF4-FFF2-40B4-BE49-F238E27FC236}">
                <a16:creationId xmlns:a16="http://schemas.microsoft.com/office/drawing/2014/main" id="{A3038301-E0F0-B143-825A-29C4709F2FB2}"/>
              </a:ext>
            </a:extLst>
          </p:cNvPr>
          <p:cNvSpPr txBox="1">
            <a:spLocks/>
          </p:cNvSpPr>
          <p:nvPr/>
        </p:nvSpPr>
        <p:spPr>
          <a:xfrm>
            <a:off x="2133600" y="274510"/>
            <a:ext cx="8229600" cy="8547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>
                <a:solidFill>
                  <a:srgbClr val="4C95C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latin typeface="Calibri"/>
              </a:rPr>
              <a:t>De </a:t>
            </a:r>
            <a:r>
              <a:rPr lang="en-GB" dirty="0" err="1">
                <a:solidFill>
                  <a:srgbClr val="FFFFFF"/>
                </a:solidFill>
                <a:latin typeface="Calibri"/>
              </a:rPr>
              <a:t>Waterstofmolen</a:t>
            </a:r>
            <a:endParaRPr lang="en-GB" dirty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9677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0DD23A-3D65-734D-8FF6-EDE5F8B04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64343C-655A-7F4F-8A61-0224BC7A97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3FF01-5DDD-EC4A-AE99-47D05C040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D147D-AD68-A54F-8409-04120D99AD1C}" type="datetime1">
              <a:rPr lang="nl-NL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5-02-1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686DE5-49AF-414B-8C00-156713E2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8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96520A-2B1C-7D4D-9222-9881A4C87B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3834064"/>
            <a:ext cx="9186813" cy="31479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8CEC5C6-AFE3-2E41-93A7-8372500353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1188" y="-564570"/>
            <a:ext cx="9186812" cy="439863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6F0441C-F61C-9647-AAC7-098B2E6F6F13}"/>
              </a:ext>
            </a:extLst>
          </p:cNvPr>
          <p:cNvSpPr txBox="1">
            <a:spLocks/>
          </p:cNvSpPr>
          <p:nvPr/>
        </p:nvSpPr>
        <p:spPr>
          <a:xfrm>
            <a:off x="1938388" y="-48603"/>
            <a:ext cx="8229600" cy="8547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>
                <a:solidFill>
                  <a:srgbClr val="4C95C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Calibri"/>
              </a:rPr>
              <a:t>Different energy system</a:t>
            </a:r>
          </a:p>
        </p:txBody>
      </p:sp>
    </p:spTree>
    <p:extLst>
      <p:ext uri="{BB962C8B-B14F-4D97-AF65-F5344CB8AC3E}">
        <p14:creationId xmlns:p14="http://schemas.microsoft.com/office/powerpoint/2010/main" val="384271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35726-BBAD-0C44-8DDD-703CD531B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ce curve @ serial p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C146F1-6260-964A-86D6-1B37CD4952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423F7C-B224-274B-8789-AEEE3EC638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D147D-AD68-A54F-8409-04120D99AD1C}" type="datetime1">
              <a:rPr lang="nl-NL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5-02-1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4CC7F6-3AFF-8E48-8ABD-F0C03C01C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CE044-141B-5549-9B7F-3F4AE3350B5E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CBF1CAD-5242-5C44-90CE-71BA6D7F8A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200" y="1267908"/>
            <a:ext cx="8837584" cy="478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394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2.xml><?xml version="1.0" encoding="utf-8"?>
<a:theme xmlns:a="http://schemas.openxmlformats.org/drawingml/2006/main" name="2016 HYGRO PTT templafe 0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2016 HYGRO PTT templafe 0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4</TotalTime>
  <Words>117</Words>
  <Application>Microsoft Macintosh PowerPoint</Application>
  <PresentationFormat>Breedbeeld</PresentationFormat>
  <Paragraphs>45</Paragraphs>
  <Slides>10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0</vt:i4>
      </vt:variant>
    </vt:vector>
  </HeadingPairs>
  <TitlesOfParts>
    <vt:vector size="18" baseType="lpstr">
      <vt:lpstr>Arial</vt:lpstr>
      <vt:lpstr>Calibri</vt:lpstr>
      <vt:lpstr>HelveticaNeueLT Std Lt Cn</vt:lpstr>
      <vt:lpstr>Wingdings 2</vt:lpstr>
      <vt:lpstr>6_Blank</vt:lpstr>
      <vt:lpstr>2016 HYGRO PTT templafe 02</vt:lpstr>
      <vt:lpstr>1_2016 HYGRO PTT templafe 02</vt:lpstr>
      <vt:lpstr>think-cell Slide</vt:lpstr>
      <vt:lpstr>De waterstofmolen</vt:lpstr>
      <vt:lpstr>Kabel vs pijpleiding</vt:lpstr>
      <vt:lpstr>Beperkingen van elektriciteitskabel</vt:lpstr>
      <vt:lpstr>Elektriciteit /jaar = keuze</vt:lpstr>
      <vt:lpstr>Elektrolyse systeem</vt:lpstr>
      <vt:lpstr>PowerPoint-presentatie</vt:lpstr>
      <vt:lpstr>De Waterstofmolen</vt:lpstr>
      <vt:lpstr>PowerPoint-presentatie</vt:lpstr>
      <vt:lpstr>Price curve @ serial production</vt:lpstr>
      <vt:lpstr>Kosten vergelijki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29</cp:revision>
  <dcterms:created xsi:type="dcterms:W3CDTF">2019-02-24T15:05:00Z</dcterms:created>
  <dcterms:modified xsi:type="dcterms:W3CDTF">2019-02-25T13:05:44Z</dcterms:modified>
</cp:coreProperties>
</file>